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erverZoom="100000" strictFirstAndLastChars="0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1576" r:id="rId2"/>
  </p:sldIdLst>
  <p:sldSz cx="17068800" cy="9601200"/>
  <p:notesSz cx="6865938" cy="9998075"/>
  <p:custDataLst>
    <p:tags r:id="rId5"/>
  </p:custDataLst>
  <p:defaultTextStyle>
    <a:defPPr>
      <a:defRPr lang="de-DE"/>
    </a:defPPr>
    <a:lvl1pPr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1pPr>
    <a:lvl2pPr marL="337197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2pPr>
    <a:lvl3pPr marL="674392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3pPr>
    <a:lvl4pPr marL="1011590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4pPr>
    <a:lvl5pPr marL="1348786" algn="ctr" defTabSz="574482" rtl="0" fontAlgn="base" hangingPunct="0">
      <a:spcBef>
        <a:spcPct val="0"/>
      </a:spcBef>
      <a:spcAft>
        <a:spcPct val="0"/>
      </a:spcAft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5pPr>
    <a:lvl6pPr marL="2247976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6pPr>
    <a:lvl7pPr marL="2697571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7pPr>
    <a:lvl8pPr marL="3147167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8pPr>
    <a:lvl9pPr marL="3596764" algn="l" defTabSz="899192" rtl="0" eaLnBrk="1" latinLnBrk="0" hangingPunct="1">
      <a:defRPr sz="3600" kern="1200">
        <a:solidFill>
          <a:srgbClr val="414141"/>
        </a:solidFill>
        <a:latin typeface="Gill Sans Light" charset="0"/>
        <a:ea typeface="Gill Sans Light" charset="0"/>
        <a:cs typeface="Gill Sans Light" charset="0"/>
        <a:sym typeface="Gill Sans Light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024" userDrawn="1">
          <p15:clr>
            <a:srgbClr val="A4A3A4"/>
          </p15:clr>
        </p15:guide>
        <p15:guide id="2" pos="53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F7941E"/>
    <a:srgbClr val="558ED5"/>
    <a:srgbClr val="458CCB"/>
    <a:srgbClr val="F6C834"/>
    <a:srgbClr val="99FF99"/>
    <a:srgbClr val="AFCC45"/>
    <a:srgbClr val="ED8036"/>
    <a:srgbClr val="FFFFFF"/>
    <a:srgbClr val="B9CD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03" autoAdjust="0"/>
    <p:restoredTop sz="93004" autoAdjust="0"/>
  </p:normalViewPr>
  <p:slideViewPr>
    <p:cSldViewPr>
      <p:cViewPr varScale="1">
        <p:scale>
          <a:sx n="74" d="100"/>
          <a:sy n="74" d="100"/>
        </p:scale>
        <p:origin x="1134" y="66"/>
      </p:cViewPr>
      <p:guideLst>
        <p:guide orient="horz" pos="3024"/>
        <p:guide pos="537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Koytek" userId="1122f4c81c71b2f9" providerId="LiveId" clId="{1168D2B6-AE15-4E7C-8345-5C90892F82A7}"/>
    <pc:docChg chg="modSld">
      <pc:chgData name="Thomas Koytek" userId="1122f4c81c71b2f9" providerId="LiveId" clId="{1168D2B6-AE15-4E7C-8345-5C90892F82A7}" dt="2020-12-09T18:29:48.041" v="3" actId="14100"/>
      <pc:docMkLst>
        <pc:docMk/>
      </pc:docMkLst>
      <pc:sldChg chg="addSp modSp mod">
        <pc:chgData name="Thomas Koytek" userId="1122f4c81c71b2f9" providerId="LiveId" clId="{1168D2B6-AE15-4E7C-8345-5C90892F82A7}" dt="2020-12-09T18:29:48.041" v="3" actId="14100"/>
        <pc:sldMkLst>
          <pc:docMk/>
          <pc:sldMk cId="1374429260" sldId="1576"/>
        </pc:sldMkLst>
        <pc:spChg chg="mod">
          <ac:chgData name="Thomas Koytek" userId="1122f4c81c71b2f9" providerId="LiveId" clId="{1168D2B6-AE15-4E7C-8345-5C90892F82A7}" dt="2020-12-09T18:06:20.760" v="1" actId="962"/>
          <ac:spMkLst>
            <pc:docMk/>
            <pc:sldMk cId="1374429260" sldId="1576"/>
            <ac:spMk id="4" creationId="{1D39B104-34B2-44F2-8DEC-14BC457713FD}"/>
          </ac:spMkLst>
        </pc:spChg>
        <pc:cxnChg chg="add mod">
          <ac:chgData name="Thomas Koytek" userId="1122f4c81c71b2f9" providerId="LiveId" clId="{1168D2B6-AE15-4E7C-8345-5C90892F82A7}" dt="2020-12-09T18:29:48.041" v="3" actId="14100"/>
          <ac:cxnSpMkLst>
            <pc:docMk/>
            <pc:sldMk cId="1374429260" sldId="1576"/>
            <ac:cxnSpMk id="9" creationId="{9C175544-F19B-43A7-BCBA-F62DA456925E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9110" y="0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/>
          <a:lstStyle>
            <a:lvl1pPr algn="r">
              <a:defRPr sz="1300"/>
            </a:lvl1pPr>
          </a:lstStyle>
          <a:p>
            <a:fld id="{19374F5E-DF45-4BEC-9D66-DFC57119FD26}" type="datetimeFigureOut">
              <a:rPr lang="de-DE" smtClean="0"/>
              <a:t>04.02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96437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9110" y="9496437"/>
            <a:ext cx="2975240" cy="499903"/>
          </a:xfrm>
          <a:prstGeom prst="rect">
            <a:avLst/>
          </a:prstGeom>
        </p:spPr>
        <p:txBody>
          <a:bodyPr vert="horz" lIns="96332" tIns="48167" rIns="96332" bIns="48167" rtlCol="0" anchor="b"/>
          <a:lstStyle>
            <a:lvl1pPr algn="r">
              <a:defRPr sz="1300"/>
            </a:lvl1pPr>
          </a:lstStyle>
          <a:p>
            <a:fld id="{CC694DF6-5A87-403A-9349-A7F7045054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46960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100013" y="749300"/>
            <a:ext cx="6665912" cy="3751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4" name="Rectangle 2"/>
          <p:cNvSpPr>
            <a:spLocks noGrp="1"/>
          </p:cNvSpPr>
          <p:nvPr>
            <p:ph type="body" sz="quarter" idx="3"/>
          </p:nvPr>
        </p:nvSpPr>
        <p:spPr bwMode="auto">
          <a:xfrm>
            <a:off x="915459" y="4749086"/>
            <a:ext cx="5035022" cy="4499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6332" tIns="48167" rIns="96332" bIns="481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>
                <a:sym typeface="Noteworthy Bold" charset="0"/>
              </a:rPr>
              <a:t>Click to edit Master text styles</a:t>
            </a:r>
          </a:p>
          <a:p>
            <a:pPr lvl="1"/>
            <a:r>
              <a:rPr lang="de-DE">
                <a:sym typeface="Noteworthy Bold" charset="0"/>
              </a:rPr>
              <a:t>Second level</a:t>
            </a:r>
          </a:p>
          <a:p>
            <a:pPr lvl="2"/>
            <a:r>
              <a:rPr lang="de-DE">
                <a:sym typeface="Noteworthy Bold" charset="0"/>
              </a:rPr>
              <a:t>Third level</a:t>
            </a:r>
          </a:p>
          <a:p>
            <a:pPr lvl="3"/>
            <a:r>
              <a:rPr lang="de-DE">
                <a:sym typeface="Noteworthy Bold" charset="0"/>
              </a:rPr>
              <a:t>Fourth level</a:t>
            </a:r>
          </a:p>
          <a:p>
            <a:pPr lvl="4"/>
            <a:r>
              <a:rPr lang="de-DE">
                <a:sym typeface="Noteworthy Bold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416733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1pPr>
    <a:lvl2pPr marL="337197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2pPr>
    <a:lvl3pPr marL="674392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3pPr>
    <a:lvl4pPr marL="1011590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4pPr>
    <a:lvl5pPr marL="1348786" algn="l" defTabSz="449593" rtl="0" fontAlgn="base" hangingPunct="0">
      <a:lnSpc>
        <a:spcPts val="3444"/>
      </a:lnSpc>
      <a:spcBef>
        <a:spcPct val="0"/>
      </a:spcBef>
      <a:spcAft>
        <a:spcPct val="0"/>
      </a:spcAft>
      <a:defRPr sz="2400" kern="1200">
        <a:solidFill>
          <a:srgbClr val="572E2D"/>
        </a:solidFill>
        <a:latin typeface="Noteworthy Bold" charset="0"/>
        <a:ea typeface="Noteworthy Bold" charset="0"/>
        <a:cs typeface="Noteworthy Bold" charset="0"/>
        <a:sym typeface="Noteworthy Bold" charset="0"/>
      </a:defRPr>
    </a:lvl5pPr>
    <a:lvl6pPr marL="2247976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697571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147167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596764" algn="l" defTabSz="8991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use</a:t>
            </a:r>
            <a:r>
              <a:rPr lang="de-DE"/>
              <a:t> https://staging.visbo.net/api</a:t>
            </a:r>
          </a:p>
        </p:txBody>
      </p:sp>
    </p:spTree>
    <p:extLst>
      <p:ext uri="{BB962C8B-B14F-4D97-AF65-F5344CB8AC3E}">
        <p14:creationId xmlns:p14="http://schemas.microsoft.com/office/powerpoint/2010/main" val="33872007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80160" y="2982605"/>
            <a:ext cx="14508480" cy="2058035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560320" y="5440681"/>
            <a:ext cx="1194816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10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0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1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1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22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2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3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3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04.02.2021</a:t>
            </a:fld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283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532541"/>
              </p:ext>
            </p:extLst>
          </p:nvPr>
        </p:nvGraphicFramePr>
        <p:xfrm>
          <a:off x="2739" y="2225"/>
          <a:ext cx="2735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739" y="2225"/>
                        <a:ext cx="2735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7843" indent="-457843">
              <a:buClr>
                <a:srgbClr val="0070C0"/>
              </a:buClr>
              <a:buSzPct val="66000"/>
              <a:buFont typeface="Wingdings" panose="05000000000000000000" pitchFamily="2" charset="2"/>
              <a:buChar char=""/>
              <a:defRPr lang="de-DE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accent6"/>
              </a:buClr>
              <a:defRPr sz="2000"/>
            </a:lvl2pPr>
            <a:lvl3pPr marL="1556810" indent="-358448">
              <a:defRPr sz="1600"/>
            </a:lvl3pPr>
            <a:lvl4pPr marL="1913135" indent="-231189">
              <a:defRPr sz="1600"/>
            </a:lvl4pPr>
            <a:lvl5pPr marL="2441837" indent="0">
              <a:buNone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04.02.2021</a:t>
            </a:fld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623987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48320" y="6169670"/>
            <a:ext cx="14508480" cy="190690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348320" y="4069400"/>
            <a:ext cx="14508480" cy="2100262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10459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2091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3137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4183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5229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6275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7321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8367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04.02.2021</a:t>
            </a:fld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33782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3440" y="384493"/>
            <a:ext cx="1536192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3443" y="2149162"/>
            <a:ext cx="7541684" cy="895667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10459" indent="0">
              <a:buNone/>
              <a:defRPr sz="2700" b="1"/>
            </a:lvl2pPr>
            <a:lvl3pPr marL="1220919" indent="0">
              <a:buNone/>
              <a:defRPr sz="2400" b="1"/>
            </a:lvl3pPr>
            <a:lvl4pPr marL="1831378" indent="0">
              <a:buNone/>
              <a:defRPr sz="2100" b="1"/>
            </a:lvl4pPr>
            <a:lvl5pPr marL="2441837" indent="0">
              <a:buNone/>
              <a:defRPr sz="2100" b="1"/>
            </a:lvl5pPr>
            <a:lvl6pPr marL="3052295" indent="0">
              <a:buNone/>
              <a:defRPr sz="2100" b="1"/>
            </a:lvl6pPr>
            <a:lvl7pPr marL="3662756" indent="0">
              <a:buNone/>
              <a:defRPr sz="2100" b="1"/>
            </a:lvl7pPr>
            <a:lvl8pPr marL="4273215" indent="0">
              <a:buNone/>
              <a:defRPr sz="2100" b="1"/>
            </a:lvl8pPr>
            <a:lvl9pPr marL="4883674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53443" y="3044826"/>
            <a:ext cx="7541684" cy="553180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2100"/>
            </a:lvl3pPr>
            <a:lvl4pPr>
              <a:defRPr sz="16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8670716" y="2149162"/>
            <a:ext cx="7544648" cy="895667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10459" indent="0">
              <a:buNone/>
              <a:defRPr sz="2700" b="1"/>
            </a:lvl2pPr>
            <a:lvl3pPr marL="1220919" indent="0">
              <a:buNone/>
              <a:defRPr sz="2400" b="1"/>
            </a:lvl3pPr>
            <a:lvl4pPr marL="1831378" indent="0">
              <a:buNone/>
              <a:defRPr sz="2100" b="1"/>
            </a:lvl4pPr>
            <a:lvl5pPr marL="2441837" indent="0">
              <a:buNone/>
              <a:defRPr sz="2100" b="1"/>
            </a:lvl5pPr>
            <a:lvl6pPr marL="3052295" indent="0">
              <a:buNone/>
              <a:defRPr sz="2100" b="1"/>
            </a:lvl6pPr>
            <a:lvl7pPr marL="3662756" indent="0">
              <a:buNone/>
              <a:defRPr sz="2100" b="1"/>
            </a:lvl7pPr>
            <a:lvl8pPr marL="4273215" indent="0">
              <a:buNone/>
              <a:defRPr sz="2100" b="1"/>
            </a:lvl8pPr>
            <a:lvl9pPr marL="4883674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8670716" y="3044826"/>
            <a:ext cx="7544648" cy="553180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2100"/>
            </a:lvl3pPr>
            <a:lvl4pPr>
              <a:defRPr sz="16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04.02.2021</a:t>
            </a:fld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006090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04.02.2021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965806" y="1877075"/>
            <a:ext cx="151371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 userDrawn="1"/>
        </p:nvCxnSpPr>
        <p:spPr>
          <a:xfrm>
            <a:off x="1586182" y="1965810"/>
            <a:ext cx="145168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7968741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04.02.2021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76C5D-FED1-41A1-8E06-910D3F4D4E5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2270724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3443" y="382270"/>
            <a:ext cx="5615519" cy="162687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673431" y="382279"/>
            <a:ext cx="9541933" cy="819435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 marL="1556810" indent="-358448">
              <a:defRPr sz="2100"/>
            </a:lvl3pPr>
            <a:lvl4pPr>
              <a:defRPr sz="16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53443" y="2009146"/>
            <a:ext cx="5615519" cy="6567488"/>
          </a:xfrm>
        </p:spPr>
        <p:txBody>
          <a:bodyPr/>
          <a:lstStyle>
            <a:lvl1pPr marL="0" indent="0">
              <a:buNone/>
              <a:defRPr sz="1900"/>
            </a:lvl1pPr>
            <a:lvl2pPr marL="610459" indent="0">
              <a:buNone/>
              <a:defRPr sz="1600"/>
            </a:lvl2pPr>
            <a:lvl3pPr marL="1220919" indent="0">
              <a:buNone/>
              <a:defRPr sz="1300"/>
            </a:lvl3pPr>
            <a:lvl4pPr marL="1831378" indent="0">
              <a:buNone/>
              <a:defRPr sz="1200"/>
            </a:lvl4pPr>
            <a:lvl5pPr marL="2441837" indent="0">
              <a:buNone/>
              <a:defRPr sz="1200"/>
            </a:lvl5pPr>
            <a:lvl6pPr marL="3052295" indent="0">
              <a:buNone/>
              <a:defRPr sz="1200"/>
            </a:lvl6pPr>
            <a:lvl7pPr marL="3662756" indent="0">
              <a:buNone/>
              <a:defRPr sz="1200"/>
            </a:lvl7pPr>
            <a:lvl8pPr marL="4273215" indent="0">
              <a:buNone/>
              <a:defRPr sz="1200"/>
            </a:lvl8pPr>
            <a:lvl9pPr marL="4883674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04.02.2021</a:t>
            </a:fld>
            <a:endParaRPr lang="de-DE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965806" y="1877075"/>
            <a:ext cx="5583389" cy="0"/>
          </a:xfrm>
          <a:prstGeom prst="line">
            <a:avLst/>
          </a:prstGeom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1586182" y="1965810"/>
            <a:ext cx="4963013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283814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5605" y="6720844"/>
            <a:ext cx="10241280" cy="793433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345605" y="857885"/>
            <a:ext cx="10241280" cy="5760720"/>
          </a:xfrm>
        </p:spPr>
        <p:txBody>
          <a:bodyPr/>
          <a:lstStyle>
            <a:lvl1pPr marL="0" indent="0">
              <a:buNone/>
              <a:defRPr sz="4300"/>
            </a:lvl1pPr>
            <a:lvl2pPr marL="610459" indent="0">
              <a:buNone/>
              <a:defRPr sz="3700"/>
            </a:lvl2pPr>
            <a:lvl3pPr marL="1220919" indent="0">
              <a:buNone/>
              <a:defRPr sz="3200"/>
            </a:lvl3pPr>
            <a:lvl4pPr marL="1831378" indent="0">
              <a:buNone/>
              <a:defRPr sz="2700"/>
            </a:lvl4pPr>
            <a:lvl5pPr marL="2441837" indent="0">
              <a:buNone/>
              <a:defRPr sz="2700"/>
            </a:lvl5pPr>
            <a:lvl6pPr marL="3052295" indent="0">
              <a:buNone/>
              <a:defRPr sz="2700"/>
            </a:lvl6pPr>
            <a:lvl7pPr marL="3662756" indent="0">
              <a:buNone/>
              <a:defRPr sz="2700"/>
            </a:lvl7pPr>
            <a:lvl8pPr marL="4273215" indent="0">
              <a:buNone/>
              <a:defRPr sz="2700"/>
            </a:lvl8pPr>
            <a:lvl9pPr marL="4883674" indent="0">
              <a:buNone/>
              <a:defRPr sz="27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345605" y="7514277"/>
            <a:ext cx="10241280" cy="1126807"/>
          </a:xfrm>
        </p:spPr>
        <p:txBody>
          <a:bodyPr/>
          <a:lstStyle>
            <a:lvl1pPr marL="0" indent="0">
              <a:buNone/>
              <a:defRPr sz="1900"/>
            </a:lvl1pPr>
            <a:lvl2pPr marL="610459" indent="0">
              <a:buNone/>
              <a:defRPr sz="1600"/>
            </a:lvl2pPr>
            <a:lvl3pPr marL="1220919" indent="0">
              <a:buNone/>
              <a:defRPr sz="1300"/>
            </a:lvl3pPr>
            <a:lvl4pPr marL="1831378" indent="0">
              <a:buNone/>
              <a:defRPr sz="1200"/>
            </a:lvl4pPr>
            <a:lvl5pPr marL="2441837" indent="0">
              <a:buNone/>
              <a:defRPr sz="1200"/>
            </a:lvl5pPr>
            <a:lvl6pPr marL="3052295" indent="0">
              <a:buNone/>
              <a:defRPr sz="1200"/>
            </a:lvl6pPr>
            <a:lvl7pPr marL="3662756" indent="0">
              <a:buNone/>
              <a:defRPr sz="1200"/>
            </a:lvl7pPr>
            <a:lvl8pPr marL="4273215" indent="0">
              <a:buNone/>
              <a:defRPr sz="1200"/>
            </a:lvl8pPr>
            <a:lvl9pPr marL="4883674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0D665-4F68-4AA6-B008-E9950B6EADA3}" type="datetimeFigureOut">
              <a:rPr lang="de-DE" smtClean="0"/>
              <a:t>04.02.2021</a:t>
            </a:fld>
            <a:endParaRPr lang="de-DE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493500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4135495"/>
              </p:ext>
            </p:extLst>
          </p:nvPr>
        </p:nvGraphicFramePr>
        <p:xfrm>
          <a:off x="2739" y="2225"/>
          <a:ext cx="2735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739" y="2225"/>
                        <a:ext cx="2735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66730" y="476747"/>
            <a:ext cx="16135351" cy="1262657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67727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52886326"/>
              </p:ext>
            </p:extLst>
          </p:nvPr>
        </p:nvGraphicFramePr>
        <p:xfrm>
          <a:off x="2739" y="2225"/>
          <a:ext cx="2735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739" y="2225"/>
                        <a:ext cx="2735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53440" y="384493"/>
            <a:ext cx="15361920" cy="1600200"/>
          </a:xfrm>
          <a:prstGeom prst="rect">
            <a:avLst/>
          </a:prstGeom>
        </p:spPr>
        <p:txBody>
          <a:bodyPr vert="horz" lIns="122092" tIns="61046" rIns="122092" bIns="61046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53440" y="8898900"/>
            <a:ext cx="3982720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30D665-4F68-4AA6-B008-E9950B6EADA3}" type="datetimeFigureOut">
              <a:rPr lang="de-DE" smtClean="0"/>
              <a:t>04.02.2021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49195" y="8898900"/>
            <a:ext cx="2853732" cy="511175"/>
          </a:xfrm>
          <a:prstGeom prst="rect">
            <a:avLst/>
          </a:prstGeom>
        </p:spPr>
        <p:txBody>
          <a:bodyPr vert="horz" lIns="122092" tIns="61046" rIns="122092" bIns="6104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 Seite - </a:t>
            </a:r>
            <a:fld id="{65776C5D-FED1-41A1-8E06-910D3F4D4E5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1" y="2568352"/>
            <a:ext cx="17068801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60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3440" y="2240289"/>
            <a:ext cx="15361920" cy="6336348"/>
          </a:xfrm>
          <a:prstGeom prst="rect">
            <a:avLst/>
          </a:prstGeom>
        </p:spPr>
        <p:txBody>
          <a:bodyPr vert="horz" lIns="122092" tIns="61046" rIns="122092" bIns="61046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feld 7">
            <a:extLst>
              <a:ext uri="{FF2B5EF4-FFF2-40B4-BE49-F238E27FC236}">
                <a16:creationId xmlns:a16="http://schemas.microsoft.com/office/drawing/2014/main" id="{ED533141-861A-49BC-835C-C5EBD1D71B27}"/>
              </a:ext>
            </a:extLst>
          </p:cNvPr>
          <p:cNvSpPr txBox="1"/>
          <p:nvPr userDrawn="1"/>
        </p:nvSpPr>
        <p:spPr>
          <a:xfrm>
            <a:off x="14775417" y="9125570"/>
            <a:ext cx="830976" cy="229380"/>
          </a:xfrm>
          <a:prstGeom prst="rect">
            <a:avLst/>
          </a:prstGeom>
          <a:noFill/>
        </p:spPr>
        <p:txBody>
          <a:bodyPr wrap="none" lIns="90001" tIns="45001" rIns="90001" bIns="45001" rtlCol="0">
            <a:spAutoFit/>
          </a:bodyPr>
          <a:lstStyle>
            <a:defPPr>
              <a:defRPr lang="de-DE"/>
            </a:defPPr>
            <a:lvl1pPr algn="ctr" defTabSz="575010" rtl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14141"/>
                </a:solidFill>
                <a:latin typeface="Gill Sans Light" charset="0"/>
                <a:ea typeface="Gill Sans Light" charset="0"/>
                <a:cs typeface="Gill Sans Light" charset="0"/>
                <a:sym typeface="Gill Sans Light" charset="0"/>
              </a:defRPr>
            </a:lvl1pPr>
            <a:lvl2pPr marL="337505" algn="ctr" defTabSz="575010" rtl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14141"/>
                </a:solidFill>
                <a:latin typeface="Gill Sans Light" charset="0"/>
                <a:ea typeface="Gill Sans Light" charset="0"/>
                <a:cs typeface="Gill Sans Light" charset="0"/>
                <a:sym typeface="Gill Sans Light" charset="0"/>
              </a:defRPr>
            </a:lvl2pPr>
            <a:lvl3pPr marL="675011" algn="ctr" defTabSz="575010" rtl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14141"/>
                </a:solidFill>
                <a:latin typeface="Gill Sans Light" charset="0"/>
                <a:ea typeface="Gill Sans Light" charset="0"/>
                <a:cs typeface="Gill Sans Light" charset="0"/>
                <a:sym typeface="Gill Sans Light" charset="0"/>
              </a:defRPr>
            </a:lvl3pPr>
            <a:lvl4pPr marL="1012516" algn="ctr" defTabSz="575010" rtl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14141"/>
                </a:solidFill>
                <a:latin typeface="Gill Sans Light" charset="0"/>
                <a:ea typeface="Gill Sans Light" charset="0"/>
                <a:cs typeface="Gill Sans Light" charset="0"/>
                <a:sym typeface="Gill Sans Light" charset="0"/>
              </a:defRPr>
            </a:lvl4pPr>
            <a:lvl5pPr marL="1350022" algn="ctr" defTabSz="575010" rtl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14141"/>
                </a:solidFill>
                <a:latin typeface="Gill Sans Light" charset="0"/>
                <a:ea typeface="Gill Sans Light" charset="0"/>
                <a:cs typeface="Gill Sans Light" charset="0"/>
                <a:sym typeface="Gill Sans Light" charset="0"/>
              </a:defRPr>
            </a:lvl5pPr>
            <a:lvl6pPr marL="2250038" algn="l" defTabSz="900015" rtl="0" eaLnBrk="1" latinLnBrk="0" hangingPunct="1">
              <a:defRPr sz="3600" kern="1200">
                <a:solidFill>
                  <a:srgbClr val="414141"/>
                </a:solidFill>
                <a:latin typeface="Gill Sans Light" charset="0"/>
                <a:ea typeface="Gill Sans Light" charset="0"/>
                <a:cs typeface="Gill Sans Light" charset="0"/>
                <a:sym typeface="Gill Sans Light" charset="0"/>
              </a:defRPr>
            </a:lvl6pPr>
            <a:lvl7pPr marL="2700045" algn="l" defTabSz="900015" rtl="0" eaLnBrk="1" latinLnBrk="0" hangingPunct="1">
              <a:defRPr sz="3600" kern="1200">
                <a:solidFill>
                  <a:srgbClr val="414141"/>
                </a:solidFill>
                <a:latin typeface="Gill Sans Light" charset="0"/>
                <a:ea typeface="Gill Sans Light" charset="0"/>
                <a:cs typeface="Gill Sans Light" charset="0"/>
                <a:sym typeface="Gill Sans Light" charset="0"/>
              </a:defRPr>
            </a:lvl7pPr>
            <a:lvl8pPr marL="3150052" algn="l" defTabSz="900015" rtl="0" eaLnBrk="1" latinLnBrk="0" hangingPunct="1">
              <a:defRPr sz="3600" kern="1200">
                <a:solidFill>
                  <a:srgbClr val="414141"/>
                </a:solidFill>
                <a:latin typeface="Gill Sans Light" charset="0"/>
                <a:ea typeface="Gill Sans Light" charset="0"/>
                <a:cs typeface="Gill Sans Light" charset="0"/>
                <a:sym typeface="Gill Sans Light" charset="0"/>
              </a:defRPr>
            </a:lvl8pPr>
            <a:lvl9pPr marL="3600059" algn="l" defTabSz="900015" rtl="0" eaLnBrk="1" latinLnBrk="0" hangingPunct="1">
              <a:defRPr sz="3600" kern="1200">
                <a:solidFill>
                  <a:srgbClr val="414141"/>
                </a:solidFill>
                <a:latin typeface="Gill Sans Light" charset="0"/>
                <a:ea typeface="Gill Sans Light" charset="0"/>
                <a:cs typeface="Gill Sans Light" charset="0"/>
                <a:sym typeface="Gill Sans Light" charset="0"/>
              </a:defRPr>
            </a:lvl9pPr>
          </a:lstStyle>
          <a:p>
            <a:r>
              <a:rPr lang="de-DE" sz="900" dirty="0"/>
              <a:t>Generated by 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DF04EC5-66A9-47D0-943F-6A8249ABADE8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19176" y="8917137"/>
            <a:ext cx="1172151" cy="486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193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654" r:id="rId9"/>
  </p:sldLayoutIdLst>
  <p:hf hdr="0" dt="0"/>
  <p:txStyles>
    <p:titleStyle>
      <a:lvl1pPr algn="ctr" defTabSz="1220919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843" indent="-457843" algn="l" defTabSz="1220919" rtl="0" eaLnBrk="1" latinLnBrk="0" hangingPunct="1">
        <a:spcBef>
          <a:spcPct val="20000"/>
        </a:spcBef>
        <a:buClr>
          <a:srgbClr val="0070C0"/>
        </a:buClr>
        <a:buSzPct val="66000"/>
        <a:buFont typeface="Wingdings" panose="05000000000000000000" pitchFamily="2" charset="2"/>
        <a:buChar char="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1071103" indent="-460256" algn="l" defTabSz="1220919" rtl="0" eaLnBrk="1" latinLnBrk="0" hangingPunct="1">
        <a:spcBef>
          <a:spcPct val="20000"/>
        </a:spcBef>
        <a:buClr>
          <a:schemeClr val="accent6"/>
        </a:buClr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556810" indent="-358448" algn="l" defTabSz="1220919" rtl="0" eaLnBrk="1" latinLnBrk="0" hangingPunct="1">
        <a:spcBef>
          <a:spcPct val="20000"/>
        </a:spcBef>
        <a:buClr>
          <a:srgbClr val="0070C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3135" indent="-231189" algn="l" defTabSz="1220919" rtl="0" eaLnBrk="1" latinLnBrk="0" hangingPunct="1">
        <a:spcBef>
          <a:spcPct val="20000"/>
        </a:spcBef>
        <a:buClr>
          <a:schemeClr val="accent6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41837" indent="0" algn="l" defTabSz="1220919" rtl="0" eaLnBrk="1" latinLnBrk="0" hangingPunct="1">
        <a:spcBef>
          <a:spcPct val="20000"/>
        </a:spcBef>
        <a:buFont typeface="Arial" panose="020B0604020202020204" pitchFamily="34" charset="0"/>
        <a:buNone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7527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7984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8444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8904" indent="-305228" algn="l" defTabSz="12209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459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0919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1378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1837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2295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2756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3215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3674" algn="l" defTabSz="12209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bgerundetes Rechteck 4" title="Swimlanes">
            <a:extLst>
              <a:ext uri="{FF2B5EF4-FFF2-40B4-BE49-F238E27FC236}">
                <a16:creationId xmlns:a16="http://schemas.microsoft.com/office/drawing/2014/main" id="{1D39B104-34B2-44F2-8DEC-14BC457713FD}"/>
              </a:ext>
            </a:extLst>
          </p:cNvPr>
          <p:cNvSpPr/>
          <p:nvPr/>
        </p:nvSpPr>
        <p:spPr>
          <a:xfrm>
            <a:off x="1142499" y="912169"/>
            <a:ext cx="15120000" cy="78488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>
            <a:solidFill>
              <a:srgbClr val="DBE5F1"/>
            </a:solidFill>
          </a:ln>
          <a:effectLst>
            <a:outerShdw blurRad="50800" dist="50800" sx="1000" sy="1000" algn="ctr" rotWithShape="0">
              <a:srgbClr val="000000">
                <a:alpha val="43137"/>
              </a:srgbClr>
            </a:outerShdw>
            <a:reflection stA="45000" endPos="0" dir="5400000" sy="-100000" algn="bl" rotWithShape="0"/>
          </a:effectLst>
          <a:scene3d>
            <a:camera prst="orthographicFront"/>
            <a:lightRig rig="balanced" dir="t">
              <a:rot lat="0" lon="0" rev="5400000"/>
            </a:lightRig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91" tIns="61096" rIns="122191" bIns="61096" rtlCol="0" anchor="t"/>
          <a:lstStyle/>
          <a:p>
            <a:pPr algn="l"/>
            <a:r>
              <a:rPr lang="de-DE" sz="12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wimlanes</a:t>
            </a:r>
            <a:endParaRPr lang="de-DE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A289A84-5E97-4709-9E5D-7BE993491675}"/>
              </a:ext>
            </a:extLst>
          </p:cNvPr>
          <p:cNvSpPr txBox="1"/>
          <p:nvPr/>
        </p:nvSpPr>
        <p:spPr>
          <a:xfrm>
            <a:off x="1045568" y="336104"/>
            <a:ext cx="2022447" cy="492717"/>
          </a:xfrm>
          <a:prstGeom prst="rect">
            <a:avLst/>
          </a:prstGeom>
          <a:noFill/>
        </p:spPr>
        <p:txBody>
          <a:bodyPr wrap="none" lIns="122191" tIns="61096" rIns="122191" bIns="61096" rtlCol="0">
            <a:spAutoFit/>
          </a:bodyPr>
          <a:lstStyle/>
          <a:p>
            <a:pPr algn="l"/>
            <a:r>
              <a:rPr lang="de-DE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rPr>
              <a:t>Projekt-Name</a:t>
            </a:r>
          </a:p>
        </p:txBody>
      </p:sp>
      <p:sp>
        <p:nvSpPr>
          <p:cNvPr id="14" name="Textfeld 13" title="Stand:">
            <a:extLst>
              <a:ext uri="{FF2B5EF4-FFF2-40B4-BE49-F238E27FC236}">
                <a16:creationId xmlns:a16="http://schemas.microsoft.com/office/drawing/2014/main" id="{17E6A582-B5E4-401D-BAF8-355E782E6C79}"/>
              </a:ext>
            </a:extLst>
          </p:cNvPr>
          <p:cNvSpPr txBox="1"/>
          <p:nvPr/>
        </p:nvSpPr>
        <p:spPr>
          <a:xfrm>
            <a:off x="1093156" y="8977064"/>
            <a:ext cx="432362" cy="323440"/>
          </a:xfrm>
          <a:prstGeom prst="rect">
            <a:avLst/>
          </a:prstGeom>
          <a:noFill/>
        </p:spPr>
        <p:txBody>
          <a:bodyPr wrap="none" lIns="0" tIns="61096" rIns="0" bIns="61096" rtlCol="0">
            <a:spAutoFit/>
          </a:bodyPr>
          <a:lstStyle/>
          <a:p>
            <a:pPr algn="l"/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rPr>
              <a:t>Stand:</a:t>
            </a:r>
          </a:p>
        </p:txBody>
      </p:sp>
      <p:cxnSp>
        <p:nvCxnSpPr>
          <p:cNvPr id="6" name="Gerade Verbindung 4" descr="Enlarge13" title="CalendarLine">
            <a:extLst>
              <a:ext uri="{FF2B5EF4-FFF2-40B4-BE49-F238E27FC236}">
                <a16:creationId xmlns:a16="http://schemas.microsoft.com/office/drawing/2014/main" id="{0D0C03F3-BBFD-4768-B00B-538AAAAB5462}"/>
              </a:ext>
            </a:extLst>
          </p:cNvPr>
          <p:cNvCxnSpPr/>
          <p:nvPr/>
        </p:nvCxnSpPr>
        <p:spPr bwMode="auto">
          <a:xfrm>
            <a:off x="4370348" y="1632248"/>
            <a:ext cx="11868908" cy="0"/>
          </a:xfrm>
          <a:prstGeom prst="line">
            <a:avLst/>
          </a:prstGeom>
          <a:solidFill>
            <a:srgbClr val="6D7472"/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1374429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PF" val="0"/>
  <p:tag name="SMART" val="visbo"/>
  <p:tag name="SOC" val="01.01.2015"/>
  <p:tag name="CRD" val="09.12.2020 18:57:33"/>
  <p:tag name="DBURL" val="https://my.visbo.net/api"/>
  <p:tag name="DBNAME" val="BHTC"/>
  <p:tag name="VCID" val="5fd0db61c7f8400c47bc83b3"/>
  <p:tag name="DBSSL" val="True"/>
  <p:tag name="CURS" val="YwoOKpeUKpCJcv0JWQYduw=="/>
  <p:tag name="REST" val="True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200" dirty="0" smtClean="0">
            <a:solidFill>
              <a:schemeClr val="tx1"/>
            </a:solidFill>
            <a:latin typeface="Gill Sans Light"/>
            <a:ea typeface="Tahoma" panose="020B0604030504040204" pitchFamily="34" charset="0"/>
            <a:cs typeface="Tahoma" panose="020B060403050404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">
      <a:dk1>
        <a:srgbClr val="572E2D"/>
      </a:dk1>
      <a:lt1>
        <a:srgbClr val="2A5657"/>
      </a:lt1>
      <a:dk2>
        <a:srgbClr val="484D4B"/>
      </a:dk2>
      <a:lt2>
        <a:srgbClr val="A5A5A5"/>
      </a:lt2>
      <a:accent1>
        <a:srgbClr val="669AA4"/>
      </a:accent1>
      <a:accent2>
        <a:srgbClr val="930706"/>
      </a:accent2>
      <a:accent3>
        <a:srgbClr val="ACB4B4"/>
      </a:accent3>
      <a:accent4>
        <a:srgbClr val="492625"/>
      </a:accent4>
      <a:accent5>
        <a:srgbClr val="B8CACF"/>
      </a:accent5>
      <a:accent6>
        <a:srgbClr val="850605"/>
      </a:accent6>
      <a:hlink>
        <a:srgbClr val="0000FF"/>
      </a:hlink>
      <a:folHlink>
        <a:srgbClr val="FF00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</Words>
  <Application>Microsoft Office PowerPoint</Application>
  <PresentationFormat>Benutzerdefiniert</PresentationFormat>
  <Paragraphs>4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Gill Sans Light</vt:lpstr>
      <vt:lpstr>Noteworthy Bold</vt:lpstr>
      <vt:lpstr>Wingdings</vt:lpstr>
      <vt:lpstr>Larissa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om</dc:creator>
  <cp:lastModifiedBy>Thomas Koytek</cp:lastModifiedBy>
  <cp:revision>2418</cp:revision>
  <cp:lastPrinted>2019-01-16T14:41:47Z</cp:lastPrinted>
  <dcterms:modified xsi:type="dcterms:W3CDTF">2021-02-04T19:31:10Z</dcterms:modified>
</cp:coreProperties>
</file>